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</p:sldMasterIdLst>
  <p:notesMasterIdLst>
    <p:notesMasterId r:id="rId25"/>
  </p:notesMasterIdLst>
  <p:sldIdLst>
    <p:sldId id="265" r:id="rId6"/>
    <p:sldId id="287" r:id="rId7"/>
    <p:sldId id="286" r:id="rId8"/>
    <p:sldId id="269" r:id="rId9"/>
    <p:sldId id="11516" r:id="rId10"/>
    <p:sldId id="277" r:id="rId11"/>
    <p:sldId id="11508" r:id="rId12"/>
    <p:sldId id="11515" r:id="rId13"/>
    <p:sldId id="259" r:id="rId14"/>
    <p:sldId id="273" r:id="rId15"/>
    <p:sldId id="278" r:id="rId16"/>
    <p:sldId id="260" r:id="rId17"/>
    <p:sldId id="289" r:id="rId18"/>
    <p:sldId id="262" r:id="rId19"/>
    <p:sldId id="263" r:id="rId20"/>
    <p:sldId id="280" r:id="rId21"/>
    <p:sldId id="276" r:id="rId22"/>
    <p:sldId id="11511" r:id="rId23"/>
    <p:sldId id="284" r:id="rId24"/>
  </p:sldIdLst>
  <p:sldSz cx="12192000" cy="6858000"/>
  <p:notesSz cx="6858000" cy="9144000"/>
  <p:custDataLst>
    <p:tags r:id="rId26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152AD8B-9AC5-BB3A-20AF-64A988BEEF0C}" name="Jenny Roxenius" initials="JR" userId="3f8a18d7159c9b03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94660"/>
  </p:normalViewPr>
  <p:slideViewPr>
    <p:cSldViewPr snapToGrid="0">
      <p:cViewPr varScale="1">
        <p:scale>
          <a:sx n="64" d="100"/>
          <a:sy n="64" d="100"/>
        </p:scale>
        <p:origin x="60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kael Stenstrand" userId="f46e7c30-6f94-4f77-97d0-1ebee2f2f480" providerId="ADAL" clId="{024CF274-B9F0-43A0-8888-6DB41A33D93C}"/>
    <pc:docChg chg="custSel modSld">
      <pc:chgData name="Mikael Stenstrand" userId="f46e7c30-6f94-4f77-97d0-1ebee2f2f480" providerId="ADAL" clId="{024CF274-B9F0-43A0-8888-6DB41A33D93C}" dt="2022-06-06T19:32:20.733" v="14" actId="478"/>
      <pc:docMkLst>
        <pc:docMk/>
      </pc:docMkLst>
      <pc:sldChg chg="delSp mod">
        <pc:chgData name="Mikael Stenstrand" userId="f46e7c30-6f94-4f77-97d0-1ebee2f2f480" providerId="ADAL" clId="{024CF274-B9F0-43A0-8888-6DB41A33D93C}" dt="2022-06-06T19:31:28.363" v="8" actId="478"/>
        <pc:sldMkLst>
          <pc:docMk/>
          <pc:sldMk cId="1119405138" sldId="259"/>
        </pc:sldMkLst>
        <pc:spChg chg="del">
          <ac:chgData name="Mikael Stenstrand" userId="f46e7c30-6f94-4f77-97d0-1ebee2f2f480" providerId="ADAL" clId="{024CF274-B9F0-43A0-8888-6DB41A33D93C}" dt="2022-06-06T19:31:28.363" v="8" actId="478"/>
          <ac:spMkLst>
            <pc:docMk/>
            <pc:sldMk cId="1119405138" sldId="259"/>
            <ac:spMk id="10" creationId="{32BA0D64-C479-4E57-5FCD-0BD54111F865}"/>
          </ac:spMkLst>
        </pc:spChg>
      </pc:sldChg>
      <pc:sldChg chg="delSp mod">
        <pc:chgData name="Mikael Stenstrand" userId="f46e7c30-6f94-4f77-97d0-1ebee2f2f480" providerId="ADAL" clId="{024CF274-B9F0-43A0-8888-6DB41A33D93C}" dt="2022-06-06T19:31:48.573" v="11" actId="478"/>
        <pc:sldMkLst>
          <pc:docMk/>
          <pc:sldMk cId="1919662798" sldId="260"/>
        </pc:sldMkLst>
        <pc:spChg chg="del">
          <ac:chgData name="Mikael Stenstrand" userId="f46e7c30-6f94-4f77-97d0-1ebee2f2f480" providerId="ADAL" clId="{024CF274-B9F0-43A0-8888-6DB41A33D93C}" dt="2022-06-06T19:31:48.573" v="11" actId="478"/>
          <ac:spMkLst>
            <pc:docMk/>
            <pc:sldMk cId="1919662798" sldId="260"/>
            <ac:spMk id="9" creationId="{CE71B658-178F-72D0-AAAB-04270644CE73}"/>
          </ac:spMkLst>
        </pc:spChg>
      </pc:sldChg>
      <pc:sldChg chg="delSp mod">
        <pc:chgData name="Mikael Stenstrand" userId="f46e7c30-6f94-4f77-97d0-1ebee2f2f480" providerId="ADAL" clId="{024CF274-B9F0-43A0-8888-6DB41A33D93C}" dt="2022-06-06T19:32:00.474" v="13" actId="478"/>
        <pc:sldMkLst>
          <pc:docMk/>
          <pc:sldMk cId="719549401" sldId="262"/>
        </pc:sldMkLst>
        <pc:spChg chg="del">
          <ac:chgData name="Mikael Stenstrand" userId="f46e7c30-6f94-4f77-97d0-1ebee2f2f480" providerId="ADAL" clId="{024CF274-B9F0-43A0-8888-6DB41A33D93C}" dt="2022-06-06T19:32:00.474" v="13" actId="478"/>
          <ac:spMkLst>
            <pc:docMk/>
            <pc:sldMk cId="719549401" sldId="262"/>
            <ac:spMk id="16" creationId="{5761BEB2-B87E-AD07-A5B1-B0D7CC2FC00D}"/>
          </ac:spMkLst>
        </pc:spChg>
      </pc:sldChg>
      <pc:sldChg chg="delSp mod">
        <pc:chgData name="Mikael Stenstrand" userId="f46e7c30-6f94-4f77-97d0-1ebee2f2f480" providerId="ADAL" clId="{024CF274-B9F0-43A0-8888-6DB41A33D93C}" dt="2022-06-06T19:30:43.164" v="2" actId="478"/>
        <pc:sldMkLst>
          <pc:docMk/>
          <pc:sldMk cId="1311782033" sldId="269"/>
        </pc:sldMkLst>
        <pc:spChg chg="del">
          <ac:chgData name="Mikael Stenstrand" userId="f46e7c30-6f94-4f77-97d0-1ebee2f2f480" providerId="ADAL" clId="{024CF274-B9F0-43A0-8888-6DB41A33D93C}" dt="2022-06-06T19:30:43.164" v="2" actId="478"/>
          <ac:spMkLst>
            <pc:docMk/>
            <pc:sldMk cId="1311782033" sldId="269"/>
            <ac:spMk id="11" creationId="{8A88A662-AAE8-7FAF-EA36-3E1B94B5C6B9}"/>
          </ac:spMkLst>
        </pc:spChg>
      </pc:sldChg>
      <pc:sldChg chg="delSp mod">
        <pc:chgData name="Mikael Stenstrand" userId="f46e7c30-6f94-4f77-97d0-1ebee2f2f480" providerId="ADAL" clId="{024CF274-B9F0-43A0-8888-6DB41A33D93C}" dt="2022-06-06T19:31:36.022" v="9" actId="478"/>
        <pc:sldMkLst>
          <pc:docMk/>
          <pc:sldMk cId="274823243" sldId="273"/>
        </pc:sldMkLst>
        <pc:spChg chg="del">
          <ac:chgData name="Mikael Stenstrand" userId="f46e7c30-6f94-4f77-97d0-1ebee2f2f480" providerId="ADAL" clId="{024CF274-B9F0-43A0-8888-6DB41A33D93C}" dt="2022-06-06T19:31:36.022" v="9" actId="478"/>
          <ac:spMkLst>
            <pc:docMk/>
            <pc:sldMk cId="274823243" sldId="273"/>
            <ac:spMk id="13" creationId="{EDC0E39D-238C-641C-B7F1-B63E00AC77AF}"/>
          </ac:spMkLst>
        </pc:spChg>
      </pc:sldChg>
      <pc:sldChg chg="delSp mod delCm">
        <pc:chgData name="Mikael Stenstrand" userId="f46e7c30-6f94-4f77-97d0-1ebee2f2f480" providerId="ADAL" clId="{024CF274-B9F0-43A0-8888-6DB41A33D93C}" dt="2022-06-06T19:31:04.968" v="5" actId="478"/>
        <pc:sldMkLst>
          <pc:docMk/>
          <pc:sldMk cId="4056409131" sldId="277"/>
        </pc:sldMkLst>
        <pc:spChg chg="del">
          <ac:chgData name="Mikael Stenstrand" userId="f46e7c30-6f94-4f77-97d0-1ebee2f2f480" providerId="ADAL" clId="{024CF274-B9F0-43A0-8888-6DB41A33D93C}" dt="2022-06-06T19:31:04.968" v="5" actId="478"/>
          <ac:spMkLst>
            <pc:docMk/>
            <pc:sldMk cId="4056409131" sldId="277"/>
            <ac:spMk id="8" creationId="{DF1C2DE1-18F3-B48F-2289-E2223308F1F5}"/>
          </ac:spMkLst>
        </pc:spChg>
      </pc:sldChg>
      <pc:sldChg chg="delSp mod">
        <pc:chgData name="Mikael Stenstrand" userId="f46e7c30-6f94-4f77-97d0-1ebee2f2f480" providerId="ADAL" clId="{024CF274-B9F0-43A0-8888-6DB41A33D93C}" dt="2022-06-06T19:31:43.208" v="10" actId="478"/>
        <pc:sldMkLst>
          <pc:docMk/>
          <pc:sldMk cId="974209236" sldId="278"/>
        </pc:sldMkLst>
        <pc:spChg chg="del">
          <ac:chgData name="Mikael Stenstrand" userId="f46e7c30-6f94-4f77-97d0-1ebee2f2f480" providerId="ADAL" clId="{024CF274-B9F0-43A0-8888-6DB41A33D93C}" dt="2022-06-06T19:31:43.208" v="10" actId="478"/>
          <ac:spMkLst>
            <pc:docMk/>
            <pc:sldMk cId="974209236" sldId="278"/>
            <ac:spMk id="6" creationId="{5E81ED4C-F2D4-1073-5C94-C9BFB566D0B1}"/>
          </ac:spMkLst>
        </pc:spChg>
      </pc:sldChg>
      <pc:sldChg chg="delSp mod">
        <pc:chgData name="Mikael Stenstrand" userId="f46e7c30-6f94-4f77-97d0-1ebee2f2f480" providerId="ADAL" clId="{024CF274-B9F0-43A0-8888-6DB41A33D93C}" dt="2022-06-06T19:30:32.327" v="1" actId="478"/>
        <pc:sldMkLst>
          <pc:docMk/>
          <pc:sldMk cId="226122681" sldId="286"/>
        </pc:sldMkLst>
        <pc:spChg chg="del">
          <ac:chgData name="Mikael Stenstrand" userId="f46e7c30-6f94-4f77-97d0-1ebee2f2f480" providerId="ADAL" clId="{024CF274-B9F0-43A0-8888-6DB41A33D93C}" dt="2022-06-06T19:30:32.327" v="1" actId="478"/>
          <ac:spMkLst>
            <pc:docMk/>
            <pc:sldMk cId="226122681" sldId="286"/>
            <ac:spMk id="5" creationId="{EE06236A-165F-9C00-3074-42702E4A4222}"/>
          </ac:spMkLst>
        </pc:spChg>
      </pc:sldChg>
      <pc:sldChg chg="delSp mod">
        <pc:chgData name="Mikael Stenstrand" userId="f46e7c30-6f94-4f77-97d0-1ebee2f2f480" providerId="ADAL" clId="{024CF274-B9F0-43A0-8888-6DB41A33D93C}" dt="2022-06-06T19:30:27.640" v="0" actId="478"/>
        <pc:sldMkLst>
          <pc:docMk/>
          <pc:sldMk cId="3793900008" sldId="287"/>
        </pc:sldMkLst>
        <pc:spChg chg="del">
          <ac:chgData name="Mikael Stenstrand" userId="f46e7c30-6f94-4f77-97d0-1ebee2f2f480" providerId="ADAL" clId="{024CF274-B9F0-43A0-8888-6DB41A33D93C}" dt="2022-06-06T19:30:27.640" v="0" actId="478"/>
          <ac:spMkLst>
            <pc:docMk/>
            <pc:sldMk cId="3793900008" sldId="287"/>
            <ac:spMk id="6" creationId="{3863D44C-348C-9093-2E95-382F6334A5D4}"/>
          </ac:spMkLst>
        </pc:spChg>
      </pc:sldChg>
      <pc:sldChg chg="delSp mod">
        <pc:chgData name="Mikael Stenstrand" userId="f46e7c30-6f94-4f77-97d0-1ebee2f2f480" providerId="ADAL" clId="{024CF274-B9F0-43A0-8888-6DB41A33D93C}" dt="2022-06-06T19:31:53.906" v="12" actId="478"/>
        <pc:sldMkLst>
          <pc:docMk/>
          <pc:sldMk cId="1570241215" sldId="289"/>
        </pc:sldMkLst>
        <pc:spChg chg="del">
          <ac:chgData name="Mikael Stenstrand" userId="f46e7c30-6f94-4f77-97d0-1ebee2f2f480" providerId="ADAL" clId="{024CF274-B9F0-43A0-8888-6DB41A33D93C}" dt="2022-06-06T19:31:53.906" v="12" actId="478"/>
          <ac:spMkLst>
            <pc:docMk/>
            <pc:sldMk cId="1570241215" sldId="289"/>
            <ac:spMk id="9" creationId="{816DBC90-6726-C530-F805-483DB2B88B1F}"/>
          </ac:spMkLst>
        </pc:spChg>
      </pc:sldChg>
      <pc:sldChg chg="delSp mod">
        <pc:chgData name="Mikael Stenstrand" userId="f46e7c30-6f94-4f77-97d0-1ebee2f2f480" providerId="ADAL" clId="{024CF274-B9F0-43A0-8888-6DB41A33D93C}" dt="2022-06-06T19:31:11.435" v="6" actId="478"/>
        <pc:sldMkLst>
          <pc:docMk/>
          <pc:sldMk cId="1669123457" sldId="11508"/>
        </pc:sldMkLst>
        <pc:spChg chg="del">
          <ac:chgData name="Mikael Stenstrand" userId="f46e7c30-6f94-4f77-97d0-1ebee2f2f480" providerId="ADAL" clId="{024CF274-B9F0-43A0-8888-6DB41A33D93C}" dt="2022-06-06T19:31:11.435" v="6" actId="478"/>
          <ac:spMkLst>
            <pc:docMk/>
            <pc:sldMk cId="1669123457" sldId="11508"/>
            <ac:spMk id="20" creationId="{4B294352-0A9F-2F33-D663-EAE896ECD621}"/>
          </ac:spMkLst>
        </pc:spChg>
      </pc:sldChg>
      <pc:sldChg chg="delSp mod">
        <pc:chgData name="Mikael Stenstrand" userId="f46e7c30-6f94-4f77-97d0-1ebee2f2f480" providerId="ADAL" clId="{024CF274-B9F0-43A0-8888-6DB41A33D93C}" dt="2022-06-06T19:32:20.733" v="14" actId="478"/>
        <pc:sldMkLst>
          <pc:docMk/>
          <pc:sldMk cId="3267741430" sldId="11511"/>
        </pc:sldMkLst>
        <pc:spChg chg="del">
          <ac:chgData name="Mikael Stenstrand" userId="f46e7c30-6f94-4f77-97d0-1ebee2f2f480" providerId="ADAL" clId="{024CF274-B9F0-43A0-8888-6DB41A33D93C}" dt="2022-06-06T19:32:20.733" v="14" actId="478"/>
          <ac:spMkLst>
            <pc:docMk/>
            <pc:sldMk cId="3267741430" sldId="11511"/>
            <ac:spMk id="14" creationId="{792D77F0-4FAA-ACF2-5A29-5610F29A770F}"/>
          </ac:spMkLst>
        </pc:spChg>
      </pc:sldChg>
      <pc:sldChg chg="delCm">
        <pc:chgData name="Mikael Stenstrand" userId="f46e7c30-6f94-4f77-97d0-1ebee2f2f480" providerId="ADAL" clId="{024CF274-B9F0-43A0-8888-6DB41A33D93C}" dt="2022-06-06T19:31:21.226" v="7"/>
        <pc:sldMkLst>
          <pc:docMk/>
          <pc:sldMk cId="3723362585" sldId="11515"/>
        </pc:sldMkLst>
      </pc:sldChg>
      <pc:sldChg chg="delCm">
        <pc:chgData name="Mikael Stenstrand" userId="f46e7c30-6f94-4f77-97d0-1ebee2f2f480" providerId="ADAL" clId="{024CF274-B9F0-43A0-8888-6DB41A33D93C}" dt="2022-06-06T19:30:56.048" v="3"/>
        <pc:sldMkLst>
          <pc:docMk/>
          <pc:sldMk cId="2849909439" sldId="1151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2-06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3819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elltklinisktkunskapsstod.se/vardprogramochvardforlopp" TargetMode="External"/><Relationship Id="rId7" Type="http://schemas.openxmlformats.org/officeDocument/2006/relationships/image" Target="../media/image20.jpeg"/><Relationship Id="rId2" Type="http://schemas.openxmlformats.org/officeDocument/2006/relationships/hyperlink" Target="http://www.kunskapsstyrningvard.se/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jpeg"/><Relationship Id="rId5" Type="http://schemas.openxmlformats.org/officeDocument/2006/relationships/hyperlink" Target="https://kunskapsstyrningvard.se/kunskapsstod/personcentreradesammanhallnavardforlopp/godkandavardforlopp/vardforlopphoftledsartros.1005.html" TargetMode="External"/><Relationship Id="rId4" Type="http://schemas.openxmlformats.org/officeDocument/2006/relationships/hyperlink" Target="https://kunskapsstyrningvard.se/kunskapsstyrningvard/kunskapsstod/publiceradekunskapsstod/hjartochkarlsjukdomar/vardforloppvenossjukdomibenenvaricerochvenosabensar.64369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5484" y="4236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2074591" y="1835150"/>
            <a:ext cx="7612333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rsoncentrerat och sammanhållet vårdförlop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4800" dirty="0">
                <a:solidFill>
                  <a:srgbClr val="FFFFFF"/>
                </a:solidFill>
                <a:latin typeface="Calibri" panose="020F0502020204030204"/>
              </a:rPr>
              <a:t>Venös sjukdom i benen – varicer och venösa bensår </a:t>
            </a: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885A8F7-6FC8-4047-25F7-A00D9367D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420350" y="5676900"/>
            <a:ext cx="1720901" cy="866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775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438516" y="1483826"/>
            <a:ext cx="3294089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457699" y="1464197"/>
            <a:ext cx="7248525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er (exempel)</a:t>
            </a:r>
          </a:p>
        </p:txBody>
      </p:sp>
      <p:sp>
        <p:nvSpPr>
          <p:cNvPr id="14" name="textruta 5">
            <a:extLst>
              <a:ext uri="{FF2B5EF4-FFF2-40B4-BE49-F238E27FC236}">
                <a16:creationId xmlns:a16="http://schemas.microsoft.com/office/drawing/2014/main" id="{C36EC323-6900-CA17-D49A-ABC2A94D8C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  <p:pic>
        <p:nvPicPr>
          <p:cNvPr id="3" name="Picture 2" descr="Bilden visar ett exempel på flödesschema med åtgärder i vårdförloppet">
            <a:extLst>
              <a:ext uri="{FF2B5EF4-FFF2-40B4-BE49-F238E27FC236}">
                <a16:creationId xmlns:a16="http://schemas.microsoft.com/office/drawing/2014/main" id="{2ED4406E-755D-B191-8F3D-1DADA85FAE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16" y="2052330"/>
            <a:ext cx="3291371" cy="3968908"/>
          </a:xfrm>
          <a:prstGeom prst="rect">
            <a:avLst/>
          </a:prstGeom>
        </p:spPr>
      </p:pic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11F1FFC4-55F8-C6A2-C02D-330A81045E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3181200" y="3652838"/>
            <a:ext cx="1809750" cy="200026"/>
          </a:xfrm>
          <a:prstGeom prst="triangle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2" name="Tabell 1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9354089"/>
              </p:ext>
            </p:extLst>
          </p:nvPr>
        </p:nvGraphicFramePr>
        <p:xfrm>
          <a:off x="4457699" y="1843826"/>
          <a:ext cx="7248524" cy="4776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0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77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0863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endParaRPr lang="sv-SE" sz="900" dirty="0">
                        <a:effectLst/>
                      </a:endParaRPr>
                    </a:p>
                    <a:p>
                      <a:pPr>
                        <a:lnSpc>
                          <a:spcPct val="11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sv-SE" sz="900" dirty="0">
                          <a:effectLst/>
                        </a:rPr>
                        <a:t>(</a:t>
                      </a:r>
                      <a:r>
                        <a:rPr lang="sv-SE" sz="1200" dirty="0">
                          <a:effectLst/>
                        </a:rPr>
                        <a:t>E) Beslut: Finns indikation för kärlkirurgisk bedömning?</a:t>
                      </a: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sv-SE" sz="1200" dirty="0">
                          <a:effectLst/>
                        </a:rPr>
                        <a:t>Finns tecken på venös sjukdom enligt (A) som bensår, varicer, ödem, venösa symtom, hudförändringar, blödning från varicer eller </a:t>
                      </a:r>
                      <a:r>
                        <a:rPr lang="sv-SE" sz="1200" dirty="0" err="1">
                          <a:effectLst/>
                        </a:rPr>
                        <a:t>tromboflebiter</a:t>
                      </a:r>
                      <a:r>
                        <a:rPr lang="sv-SE" sz="1200" dirty="0">
                          <a:effectLst/>
                        </a:rPr>
                        <a:t>? Observera att även äldre och sköra patienter är aktuella för kärlkirurgisk bedömning eftersom det finns skonsamma </a:t>
                      </a:r>
                      <a:r>
                        <a:rPr lang="sv-SE" sz="1200" dirty="0" err="1">
                          <a:effectLst/>
                        </a:rPr>
                        <a:t>minimalinvasiva</a:t>
                      </a:r>
                      <a:r>
                        <a:rPr lang="sv-SE" sz="1200" dirty="0">
                          <a:effectLst/>
                        </a:rPr>
                        <a:t> metoder.</a:t>
                      </a:r>
                    </a:p>
                    <a:p>
                      <a:pPr marL="342900" lvl="0" indent="-342900">
                        <a:lnSpc>
                          <a:spcPct val="11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sv-SE" sz="1200" dirty="0">
                          <a:effectLst/>
                        </a:rPr>
                        <a:t>Ja, indikation finns och patienten är intresserad av kärlkirurgisk behandling: </a:t>
                      </a:r>
                      <a:br>
                        <a:rPr lang="sv-SE" sz="1200" dirty="0">
                          <a:effectLst/>
                        </a:rPr>
                      </a:br>
                      <a:r>
                        <a:rPr lang="sv-SE" sz="1200" dirty="0">
                          <a:effectLst/>
                        </a:rPr>
                        <a:t>Skicka remiss för kärlkirurgisk bedömning i (I). Följande information ska ingå i remissen eller vara lätt tillgänglig enligt överenskomna rutiner: </a:t>
                      </a:r>
                    </a:p>
                    <a:p>
                      <a:pPr marL="742950" lvl="1" indent="-285750">
                        <a:lnSpc>
                          <a:spcPct val="110000"/>
                        </a:lnSpc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sv-SE" sz="1200" dirty="0">
                          <a:effectLst/>
                        </a:rPr>
                        <a:t>Anamnes med symtom, funktionsinskränkning och klinisk status enligt (A) samt övriga relevanta sjukdomar och medicinering.</a:t>
                      </a:r>
                    </a:p>
                    <a:p>
                      <a:pPr marL="742950" lvl="1" indent="-285750">
                        <a:lnSpc>
                          <a:spcPct val="110000"/>
                        </a:lnSpc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sv-SE" sz="1200" dirty="0">
                          <a:effectLst/>
                        </a:rPr>
                        <a:t>För patienter utan bensår eller uttalade kliniska fynd, ange om basbehandling utförts och hur lång tid, samt om andra orsaker till symtom uteslutits.  </a:t>
                      </a:r>
                    </a:p>
                    <a:p>
                      <a:pPr marL="742950" lvl="1" indent="-285750">
                        <a:lnSpc>
                          <a:spcPct val="110000"/>
                        </a:lnSpc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sv-SE" sz="1200" dirty="0">
                          <a:effectLst/>
                        </a:rPr>
                        <a:t>Fotodokumentera sår för </a:t>
                      </a:r>
                      <a:r>
                        <a:rPr lang="sv-SE" sz="1200" dirty="0" err="1">
                          <a:effectLst/>
                        </a:rPr>
                        <a:t>inklusion</a:t>
                      </a:r>
                      <a:r>
                        <a:rPr lang="sv-SE" sz="1200" dirty="0">
                          <a:effectLst/>
                        </a:rPr>
                        <a:t> i   patientjournal.</a:t>
                      </a:r>
                    </a:p>
                    <a:p>
                      <a:pPr marL="742950" lvl="1" indent="-285750">
                        <a:lnSpc>
                          <a:spcPct val="110000"/>
                        </a:lnSpc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sv-SE" sz="1200" dirty="0">
                          <a:effectLst/>
                        </a:rPr>
                        <a:t>Lokala rutiner varierar om </a:t>
                      </a:r>
                      <a:r>
                        <a:rPr lang="sv-SE" sz="1200" dirty="0" err="1">
                          <a:effectLst/>
                        </a:rPr>
                        <a:t>venduplex</a:t>
                      </a:r>
                      <a:r>
                        <a:rPr lang="sv-SE" sz="1200" dirty="0">
                          <a:effectLst/>
                        </a:rPr>
                        <a:t> ska beställas separat.</a:t>
                      </a:r>
                    </a:p>
                    <a:p>
                      <a:pPr marL="342900" lvl="0" indent="-342900">
                        <a:lnSpc>
                          <a:spcPct val="11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sv-SE" sz="1200" dirty="0">
                          <a:effectLst/>
                        </a:rPr>
                        <a:t>Nej: Följ upp enligt (F).</a:t>
                      </a:r>
                    </a:p>
                    <a:p>
                      <a:pPr marL="457200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>
                          <a:effectLst/>
                        </a:rPr>
                        <a:t> 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917" marR="5891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endParaRPr lang="sv-SE" sz="1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sv-SE" sz="1200" dirty="0">
                          <a:effectLst/>
                        </a:rPr>
                        <a:t>Delta i beslut om eventuell kärlkirurgisk behandling. </a:t>
                      </a:r>
                    </a:p>
                    <a:p>
                      <a:pPr marL="342900" lvl="0" indent="-342900">
                        <a:lnSpc>
                          <a:spcPct val="11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sv-SE" sz="1200" dirty="0">
                          <a:effectLst/>
                        </a:rPr>
                        <a:t>Beskriva förväntningar på kärlkirurgisk bedömning för vårdpersonalen. </a:t>
                      </a:r>
                    </a:p>
                    <a:p>
                      <a:pPr marL="291465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>
                          <a:effectLst/>
                        </a:rPr>
                        <a:t> 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917" marR="58917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ED6AE72-3AC8-4B8C-897B-B5E15E2AF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0550" y="1609725"/>
            <a:ext cx="5360989" cy="43053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590550" y="616841"/>
            <a:ext cx="9144000" cy="609793"/>
          </a:xfrm>
        </p:spPr>
        <p:txBody>
          <a:bodyPr/>
          <a:lstStyle/>
          <a:p>
            <a:r>
              <a:rPr lang="sv-SE" dirty="0"/>
              <a:t>Vårdförloppet i korthe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/>
          </p:nvPr>
        </p:nvSpPr>
        <p:spPr>
          <a:xfrm>
            <a:off x="674688" y="1816100"/>
            <a:ext cx="5106987" cy="2796401"/>
          </a:xfrm>
        </p:spPr>
        <p:txBody>
          <a:bodyPr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</a:rPr>
              <a:t>Ingång i vårdförloppet kan ske via nära vård, remiss eller egen vårdbegäran till kärlkirurgisk enhet eller privat varicerklinik med vårdavtal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/>
              <a:t>Bedömning och prioritering görs utifrån en sammanvägning av patientens berättelse, symtom och kliniska fynd, på specialistenhet utvärderas även resultat av ultraljudsundersökning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/>
              <a:t>Kärlkirurgisk behandlingsindikation inom ramen för offentligt finansierad vård innefattar venösa symtom, hudförändringar eller bensår, där ultraljudsfynd bekräftar venös orsak</a:t>
            </a:r>
          </a:p>
        </p:txBody>
      </p:sp>
      <p:sp>
        <p:nvSpPr>
          <p:cNvPr id="8" name="textruta 5">
            <a:extLst>
              <a:ext uri="{FF2B5EF4-FFF2-40B4-BE49-F238E27FC236}">
                <a16:creationId xmlns:a16="http://schemas.microsoft.com/office/drawing/2014/main" id="{995E1722-3BEA-0256-7FB4-642DCB999C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CD6F338-FFBD-4142-8EA4-F73599A12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40462" y="1609725"/>
            <a:ext cx="5724525" cy="30956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F63FCEC-FCFA-4ED4-9D7E-2B076FDE8FEB}"/>
              </a:ext>
            </a:extLst>
          </p:cNvPr>
          <p:cNvSpPr txBox="1"/>
          <p:nvPr/>
        </p:nvSpPr>
        <p:spPr>
          <a:xfrm>
            <a:off x="6240462" y="1822450"/>
            <a:ext cx="572452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/>
              <a:t>Patienten uppmuntras till egenvård i form av viktnedgång, motion och kompressionsbehandling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/>
              <a:t>Kärlkirurgisk åtgärd skräddarsys individuellt till varje patient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/>
              <a:t>Alla ingrepp ska registreras i kvalitetsregister inklusive patientrapporterat utfallsmått, och följas upp efter ett år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74209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712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4083" y="741159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 lägger tonvikt på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3E32D5-2B68-4BB5-98D0-1D5EBE620135}"/>
              </a:ext>
            </a:extLst>
          </p:cNvPr>
          <p:cNvSpPr/>
          <p:nvPr/>
        </p:nvSpPr>
        <p:spPr>
          <a:xfrm>
            <a:off x="644083" y="1974755"/>
            <a:ext cx="5261417" cy="35322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Helhetsbedömning av patienten, inte bara prioritering</a:t>
            </a:r>
            <a:r>
              <a:rPr lang="sv-SE" sz="2000" dirty="0">
                <a:solidFill>
                  <a:schemeClr val="tx1"/>
                </a:solidFill>
              </a:rPr>
              <a:t> utifrån hudens utseende (klinisk CEAP-klass) såsom praktiserats i vissa regione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Korrekt, individanpassad kompressionsbehandling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kräddarsydd kärlkirurgisk behandling vilket medför mindre risk för framtida bensår och färre recidivoperationer än schabloniserad behandling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ruta 5">
            <a:extLst>
              <a:ext uri="{FF2B5EF4-FFF2-40B4-BE49-F238E27FC236}">
                <a16:creationId xmlns:a16="http://schemas.microsoft.com/office/drawing/2014/main" id="{0F0C9E3F-7771-D5EF-82F5-580B707B38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260BF73B-3325-4CA9-BA4B-3710FFF1F990}"/>
              </a:ext>
            </a:extLst>
          </p:cNvPr>
          <p:cNvSpPr/>
          <p:nvPr/>
        </p:nvSpPr>
        <p:spPr>
          <a:xfrm>
            <a:off x="6276755" y="1983174"/>
            <a:ext cx="5438995" cy="35322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0A05F99B-7C33-416A-A190-8E80581DF0AD}"/>
              </a:ext>
            </a:extLst>
          </p:cNvPr>
          <p:cNvSpPr txBox="1"/>
          <p:nvPr/>
        </p:nvSpPr>
        <p:spPr>
          <a:xfrm>
            <a:off x="6452967" y="2193830"/>
            <a:ext cx="4977033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Även äldre och sköra patienter är aktuella för kärlkirurgisk bedömning eftersom nuvarande </a:t>
            </a:r>
            <a:r>
              <a:rPr lang="sv-SE" sz="2000" dirty="0" err="1">
                <a:solidFill>
                  <a:schemeClr val="tx1"/>
                </a:solidFill>
              </a:rPr>
              <a:t>minimalinvasiva</a:t>
            </a:r>
            <a:r>
              <a:rPr lang="sv-SE" sz="2000" dirty="0">
                <a:solidFill>
                  <a:schemeClr val="tx1"/>
                </a:solidFill>
              </a:rPr>
              <a:t> metoder är skonsamma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Uppföljning av alla patienter, fysiskt eller digitalt, för att följa patientrapporterat utfall och komplikationsfrekvens för olika metoder i klinisk vardag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560742" y="389100"/>
            <a:ext cx="9144000" cy="609793"/>
          </a:xfrm>
        </p:spPr>
        <p:txBody>
          <a:bodyPr/>
          <a:lstStyle/>
          <a:p>
            <a:r>
              <a:rPr lang="sv-SE" dirty="0"/>
              <a:t>Patientkontrak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5456238" y="1386181"/>
            <a:ext cx="6259512" cy="3353506"/>
          </a:xfrm>
        </p:spPr>
        <p:txBody>
          <a:bodyPr>
            <a:normAutofit lnSpcReduction="10000"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200" dirty="0"/>
              <a:t>I första hand erbjuds patientkontrakt patienter med omfattande och komplexa vårdbehov, ej till patienter med okomplicerad venös sjukdom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200" dirty="0"/>
              <a:t>Inte ett kontrakt i juridisk mening, utan ett stöd för hur vården genomförs där patienten ges möjlighet att vara delaktig och ta ansvar för sin vårdplanering och hälsofrämjande åtgärder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200" dirty="0" err="1"/>
              <a:t>Patientkontraktet</a:t>
            </a:r>
            <a:r>
              <a:rPr lang="sv-SE" sz="2200" dirty="0"/>
              <a:t> kan vara muntligt och, om möjligt, dokumenteras som en överenskommelse i journalen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</p:txBody>
      </p:sp>
      <p:sp>
        <p:nvSpPr>
          <p:cNvPr id="7" name="Rektangel 6"/>
          <p:cNvSpPr/>
          <p:nvPr/>
        </p:nvSpPr>
        <p:spPr>
          <a:xfrm>
            <a:off x="5598842" y="4904470"/>
            <a:ext cx="6364558" cy="7006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4DA1E4-84C6-BB4F-9A8A-83B8AC198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5090233" cy="6648450"/>
          </a:xfrm>
          <a:prstGeom prst="rect">
            <a:avLst/>
          </a:prstGeom>
        </p:spPr>
      </p:pic>
      <p:sp>
        <p:nvSpPr>
          <p:cNvPr id="8" name="textruta 5">
            <a:extLst>
              <a:ext uri="{FF2B5EF4-FFF2-40B4-BE49-F238E27FC236}">
                <a16:creationId xmlns:a16="http://schemas.microsoft.com/office/drawing/2014/main" id="{EBA49056-80A2-7428-F180-70100D4E44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</p:spTree>
    <p:extLst>
      <p:ext uri="{BB962C8B-B14F-4D97-AF65-F5344CB8AC3E}">
        <p14:creationId xmlns:p14="http://schemas.microsoft.com/office/powerpoint/2010/main" val="1570241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817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Vad kommer att följas upp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1999574" y="1560384"/>
            <a:ext cx="3894543" cy="506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atorer (målvärd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A3914D-6AB0-4643-82B5-C41FCC809901}"/>
              </a:ext>
            </a:extLst>
          </p:cNvPr>
          <p:cNvSpPr/>
          <p:nvPr/>
        </p:nvSpPr>
        <p:spPr>
          <a:xfrm>
            <a:off x="988742" y="2139206"/>
            <a:ext cx="5070087" cy="3318618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rekomst av venösa bensår i befolkningen, antal per 100 000 invånare (halvering nationellt inom en 10-årsperiod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ndel patienter som följts upp </a:t>
            </a:r>
            <a:r>
              <a:rPr lang="sv-SE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vseende patientrapporterat utfall </a:t>
            </a: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(PROM) av totalt antal variceringrepp (100% av alla operationer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ntal variceringrepp per 100 000 invånare (100–150 ingrepp per 100 000 invånare per år och region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F30D1A-8F25-4810-A47A-39C95C855260}"/>
              </a:ext>
            </a:extLst>
          </p:cNvPr>
          <p:cNvSpPr/>
          <p:nvPr/>
        </p:nvSpPr>
        <p:spPr>
          <a:xfrm>
            <a:off x="6406707" y="2139205"/>
            <a:ext cx="5166167" cy="3318619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ndel reoperationer av totalt antal variceringrepp (&lt;20 %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ndel patienter med venöst bensår vars sår har läkt inom 90 dagar från diagnos (&lt; 90 dagar för &gt; 90 procent av patienterna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ndel patienter med sammanlagd </a:t>
            </a:r>
            <a:r>
              <a:rPr lang="sv-SE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årtid</a:t>
            </a: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kortare än 90 dagar av alla som opererats på grund av venöst bensår (&gt; 90 procent av patienterna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ndel patienter som erbjudits variceroperation inom vårdgarantin av totalt antal som erbjudits variceroperation (100 procent inom vårdgarantin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558" y="1326807"/>
            <a:ext cx="1023016" cy="75417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5EFE918-B768-4D36-9D56-383F0BD01BC0}"/>
              </a:ext>
            </a:extLst>
          </p:cNvPr>
          <p:cNvSpPr/>
          <p:nvPr/>
        </p:nvSpPr>
        <p:spPr>
          <a:xfrm>
            <a:off x="7397049" y="1564430"/>
            <a:ext cx="4007994" cy="599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atorer (målvärd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988742" y="5683372"/>
            <a:ext cx="9209431" cy="8344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källor: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flesta indikatorerna planeras att hämtas från det nationella kvalitetsregistret Swedvasc, enstaka från RiksSår. Övriga indikatorer bedöms kunna hämtas från andra nationella datakällor: PrimärvårdsKvalitet (PVQ), SKR:s väntetidsdatabas och Socialstyrelsens hälsodataregister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A1D06-CE48-4110-8485-A9D2852468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64" y="5723573"/>
            <a:ext cx="754004" cy="754004"/>
          </a:xfrm>
          <a:prstGeom prst="rect">
            <a:avLst/>
          </a:prstGeom>
          <a:noFill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033" y="1333203"/>
            <a:ext cx="1023016" cy="754175"/>
          </a:xfrm>
          <a:prstGeom prst="rect">
            <a:avLst/>
          </a:prstGeom>
        </p:spPr>
      </p:pic>
      <p:sp>
        <p:nvSpPr>
          <p:cNvPr id="17" name="textruta 5">
            <a:extLst>
              <a:ext uri="{FF2B5EF4-FFF2-40B4-BE49-F238E27FC236}">
                <a16:creationId xmlns:a16="http://schemas.microsoft.com/office/drawing/2014/main" id="{B26C482B-31DD-33F8-9A2C-70D51B345E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</p:spTree>
    <p:extLst>
      <p:ext uri="{BB962C8B-B14F-4D97-AF65-F5344CB8AC3E}">
        <p14:creationId xmlns:p14="http://schemas.microsoft.com/office/powerpoint/2010/main" val="7195494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408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274320"/>
            <a:ext cx="9907828" cy="1069847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ad </a:t>
            </a:r>
            <a:r>
              <a:rPr lang="sv-SE">
                <a:solidFill>
                  <a:srgbClr val="5A8695"/>
                </a:solidFill>
              </a:rPr>
              <a:t>blir konsekvenserna vid införandet av vårdförloppet?</a:t>
            </a:r>
            <a:endParaRPr lang="sv-SE" dirty="0">
              <a:solidFill>
                <a:srgbClr val="5A8695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Fördelar/vins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b="1">
                <a:solidFill>
                  <a:srgbClr val="000000"/>
                </a:solidFill>
              </a:rPr>
              <a:t>Fler venösa ingrepp ger färre venösa bensår i befolkningen, vilket medför minskat lidande men också samhällsekonomiska vinster</a:t>
            </a:r>
            <a:endParaRPr lang="sv-SE" sz="2000" b="1" dirty="0">
              <a:solidFill>
                <a:srgbClr val="000000"/>
              </a:solidFill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b="1">
                <a:solidFill>
                  <a:srgbClr val="000000"/>
                </a:solidFill>
              </a:rPr>
              <a:t>Högre kvalitet på kärlkirurgiska ingrepp medför bättre långtidsresultat och färre operationer pga återfall</a:t>
            </a:r>
            <a:endParaRPr lang="sv-SE" sz="2000" b="1" dirty="0">
              <a:solidFill>
                <a:srgbClr val="000000"/>
              </a:solidFill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b="1">
                <a:solidFill>
                  <a:srgbClr val="000000"/>
                </a:solidFill>
              </a:rPr>
              <a:t>På sikt även färre primära ingrepp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b="1">
                <a:solidFill>
                  <a:srgbClr val="000000"/>
                </a:solidFill>
              </a:rPr>
              <a:t>Individualiserad behandling ger ökad delaktighet för patienten</a:t>
            </a:r>
            <a:endParaRPr lang="sv-SE" sz="2000" b="1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4103467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>
                <a:solidFill>
                  <a:srgbClr val="000000"/>
                </a:solidFill>
              </a:rPr>
              <a:t>Risker/svårigheter</a:t>
            </a:r>
            <a:endParaRPr lang="sv-SE" sz="2400" b="1" dirty="0">
              <a:solidFill>
                <a:srgbClr val="000000"/>
              </a:solidFill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b="1">
                <a:solidFill>
                  <a:srgbClr val="000000"/>
                </a:solidFill>
              </a:rPr>
              <a:t>Upphandling av kärlkirurgisk vård i flera regioner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b="1">
                <a:solidFill>
                  <a:srgbClr val="000000"/>
                </a:solidFill>
              </a:rPr>
              <a:t>Låga vinnande anbud medför risk för inadekvata kärlkirurgiska ingrepp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b="1">
                <a:solidFill>
                  <a:srgbClr val="000000"/>
                </a:solidFill>
              </a:rPr>
              <a:t>Brister i regionernas kontroll av upphandlad vård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b="1">
                <a:solidFill>
                  <a:srgbClr val="000000"/>
                </a:solidFill>
              </a:rPr>
              <a:t>I regioner som nedprioriterat patientgruppen riskeras initialt ökat behov av vårdresurser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b="1">
                <a:solidFill>
                  <a:srgbClr val="000000"/>
                </a:solidFill>
              </a:rPr>
              <a:t>Andra regioner eller privata vårdgivare med vårdavtal kan avlasta</a:t>
            </a:r>
            <a:endParaRPr lang="sv-SE" b="1" dirty="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06CDB5-7F3F-4DAF-B872-1BC8872ABD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  <p:sp>
        <p:nvSpPr>
          <p:cNvPr id="10" name="textruta 5">
            <a:extLst>
              <a:ext uri="{FF2B5EF4-FFF2-40B4-BE49-F238E27FC236}">
                <a16:creationId xmlns:a16="http://schemas.microsoft.com/office/drawing/2014/main" id="{5EBBBDC4-4CE5-6666-9FFA-86CDBBFEFF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 fontScale="85000" lnSpcReduction="20000"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20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  <p:sp>
        <p:nvSpPr>
          <p:cNvPr id="7" name="textruta 5">
            <a:extLst>
              <a:ext uri="{FF2B5EF4-FFF2-40B4-BE49-F238E27FC236}">
                <a16:creationId xmlns:a16="http://schemas.microsoft.com/office/drawing/2014/main" id="{E8251630-9C1E-6C13-C652-A9A2878B2454}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9788994"/>
              </p:ext>
            </p:extLst>
          </p:nvPr>
        </p:nvGraphicFramePr>
        <p:xfrm>
          <a:off x="580293" y="889892"/>
          <a:ext cx="11002107" cy="3859772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733384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354709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721632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am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Region/sjukvårdsregio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na Blomgren (ordförande)</a:t>
                      </a: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Docent, Överläkare, kärlkirurg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Region Örebro lä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rs Elamso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tientföreträdare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3220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n-Mari Fagerdahl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cent, specialistsjuksköterska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ion Stockholm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nda Jervidal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årsjuksköterska, distriktssköterska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ion Jämtland Härjedal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na Jonsson</a:t>
                      </a: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-läkare allmänmedicin</a:t>
                      </a:r>
                      <a:endParaRPr lang="sv-SE" sz="20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ion</a:t>
                      </a:r>
                      <a:r>
                        <a:rPr lang="sv-SE" sz="2000" baseline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Östergötland</a:t>
                      </a: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niel Klingber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läkare, kärlkirur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ion Dalarna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ders Lundell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cent, kärlkirur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andinavian Venous Centre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le Nelzé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cent, överläkare, kärlkirur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 Götalandsregion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ll-Marie Persso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läkare, dermatolo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 Götalandsregion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anna Wickström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ktorand, allmänläkare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ion Blekinge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</a:tbl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123DFDD-0D59-44C2-8AE7-01ADC4130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580293" y="5004122"/>
            <a:ext cx="9686655" cy="684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</a:pPr>
            <a:r>
              <a:rPr lang="sv-SE" sz="1600"/>
              <a:t>Docent Stefan Rosfors, klinisk fysiolog, Region Stockholm, har deltagit i utarbetandet av text avseende utförande av venduplex på kärlkirurgisk mottagning eller varicerklinik.</a:t>
            </a:r>
            <a:endParaRPr lang="sv-SE" sz="1600" dirty="0">
              <a:solidFill>
                <a:srgbClr val="FF0000"/>
              </a:solidFill>
            </a:endParaRPr>
          </a:p>
        </p:txBody>
      </p:sp>
      <p:sp>
        <p:nvSpPr>
          <p:cNvPr id="9" name="textruta 5">
            <a:extLst>
              <a:ext uri="{FF2B5EF4-FFF2-40B4-BE49-F238E27FC236}">
                <a16:creationId xmlns:a16="http://schemas.microsoft.com/office/drawing/2014/main" id="{8C262BE7-9DDD-4B15-126C-78E6138CCF48}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FC4831F-5662-6223-0AB8-75E7567B19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448925" y="5610225"/>
            <a:ext cx="1743075" cy="9628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B8564D2F-45CC-4D11-B1EF-80B21B99A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045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>
            <a:extLst>
              <a:ext uri="{FF2B5EF4-FFF2-40B4-BE49-F238E27FC236}">
                <a16:creationId xmlns:a16="http://schemas.microsoft.com/office/drawing/2014/main" id="{52210200-2644-EE03-6B3F-2890E000978D}"/>
              </a:ext>
            </a:extLst>
          </p:cNvPr>
          <p:cNvSpPr/>
          <p:nvPr/>
        </p:nvSpPr>
        <p:spPr>
          <a:xfrm rot="18892177">
            <a:off x="-106693" y="452933"/>
            <a:ext cx="1391149" cy="27699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sv-S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manfattn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/>
              <a:t>Personcentrerat och sammanhållet vårdförlopp för venös sjukdom</a:t>
            </a:r>
          </a:p>
        </p:txBody>
      </p:sp>
      <p:sp>
        <p:nvSpPr>
          <p:cNvPr id="12" name="Rektangel 11"/>
          <p:cNvSpPr/>
          <p:nvPr/>
        </p:nvSpPr>
        <p:spPr>
          <a:xfrm>
            <a:off x="988740" y="1482673"/>
            <a:ext cx="106793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et omfattar åtgärder 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ån</a:t>
            </a: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tt det finns misstanke om venös sjukdom i benen 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</a:t>
            </a: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ppföljning tolv månader efter kärlkirurgisk behandling eller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l </a:t>
            </a: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älfungerande kompressionsbehandling och påbörjad sårläkning.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0" y="2477818"/>
            <a:ext cx="3478485" cy="1152888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Övergripande målsättning:</a:t>
            </a:r>
            <a:endParaRPr lang="sv-SE" sz="1600" b="1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ebygga eller läka bensår samt förbättra livskvalitet för personer med venös sjukdom i benen</a:t>
            </a:r>
          </a:p>
        </p:txBody>
      </p:sp>
      <p:sp>
        <p:nvSpPr>
          <p:cNvPr id="10" name="Rectangle 20">
            <a:extLst>
              <a:ext uri="{FF2B5EF4-FFF2-40B4-BE49-F238E27FC236}">
                <a16:creationId xmlns:a16="http://schemas.microsoft.com/office/drawing/2014/main" id="{29E4C173-708C-96E4-BDA4-BF97B486ACBA}"/>
              </a:ext>
            </a:extLst>
          </p:cNvPr>
          <p:cNvSpPr/>
          <p:nvPr/>
        </p:nvSpPr>
        <p:spPr>
          <a:xfrm>
            <a:off x="988740" y="3774054"/>
            <a:ext cx="3478485" cy="1152888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llellt med arbetet kring vårdförloppet publiceras även vårdprogram Venös sjukdom i benen – varicer och venösa benså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4724401" y="2477818"/>
            <a:ext cx="6943723" cy="3684858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empel på c</a:t>
            </a:r>
            <a:r>
              <a:rPr kumimoji="0" lang="sv-SE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rala åtgärder vid implementer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Utbildning av vårdpersonal vad gäller bensår i samarbete med vårdförlopp för Svårläkta sår, Kritisk </a:t>
            </a:r>
            <a:r>
              <a:rPr lang="sv-SE" sz="1600" dirty="0" err="1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benischemi</a:t>
            </a: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och Diabetes med risk för benså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Utbildning av kärlkirurger och privata vårdgivare om evidensbaserad bedömning och behandling, inklusive ultraljudskunskap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ydliga riktlinjer i avtal med privata vårdgivare om vårdförlopp och vårdprogram, samt regelbunden kontroll av vårdkvalitet</a:t>
            </a:r>
          </a:p>
          <a:p>
            <a:pPr>
              <a:spcBef>
                <a:spcPts val="600"/>
              </a:spcBef>
              <a:defRPr/>
            </a:pPr>
            <a:endParaRPr lang="sv-SE" sz="1600" dirty="0">
              <a:solidFill>
                <a:srgbClr val="00000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v-SE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pföljning av vårdförloppet</a:t>
            </a:r>
          </a:p>
          <a:p>
            <a:pPr marL="285750" marR="0" lvl="0" indent="-28575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Uppföljning av opererade patienter sker genom det nationella kvalitetsregistret </a:t>
            </a:r>
            <a:r>
              <a:rPr lang="sv-SE" sz="1600" dirty="0" err="1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wedvasc</a:t>
            </a: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, på mottagning, per telefon eller digitalt</a:t>
            </a:r>
          </a:p>
          <a:p>
            <a:pPr marL="285750" marR="0" lvl="0" indent="-28575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Indikatorer kan också hämtas från RiksSår och andra nationella datakällor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48660B-D01F-6430-61D1-33B13717BD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7806" y="2474843"/>
            <a:ext cx="579419" cy="57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7414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413069"/>
            <a:ext cx="5148385" cy="418529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hlinkClick r:id="rId2"/>
              </a:rPr>
              <a:t>www.kunskapsstyrningvard.se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hlinkClick r:id="rId3"/>
              </a:rPr>
              <a:t>NKK</a:t>
            </a:r>
            <a:endParaRPr lang="sv-SE" dirty="0"/>
          </a:p>
        </p:txBody>
      </p:sp>
      <p:sp>
        <p:nvSpPr>
          <p:cNvPr id="6" name="Rektangel 5">
            <a:hlinkClick r:id="rId4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27053" y="1306742"/>
            <a:ext cx="5036863" cy="39989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ktangel 8"/>
          <p:cNvSpPr/>
          <p:nvPr/>
        </p:nvSpPr>
        <p:spPr>
          <a:xfrm>
            <a:off x="6731289" y="4558684"/>
            <a:ext cx="489009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LÄNK</a:t>
            </a: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:</a:t>
            </a:r>
            <a:endParaRPr lang="sv-SE" sz="1100" dirty="0">
              <a:solidFill>
                <a:srgbClr val="000000"/>
              </a:solidFill>
              <a:latin typeface="Calibri"/>
              <a:hlinkClick r:id="rId5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627053" y="1306742"/>
            <a:ext cx="4910325" cy="15647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sv-SE" sz="2400" dirty="0"/>
              <a:t>Filmer</a:t>
            </a:r>
            <a:r>
              <a:rPr lang="sv-SE" sz="1600" dirty="0"/>
              <a:t> </a:t>
            </a:r>
          </a:p>
          <a:p>
            <a:r>
              <a:rPr lang="sv-SE" sz="1600" dirty="0"/>
              <a:t>Beskriver mål och syfte med vårdförloppet utifrån ett patient- och vårdgivarperspektiv. De intervjuade är ordförande respektive patientrepresentant för den nationella arbetsgrupp (NAG) som har tagit fram vårdförloppet.</a:t>
            </a:r>
          </a:p>
        </p:txBody>
      </p:sp>
      <p:sp>
        <p:nvSpPr>
          <p:cNvPr id="8" name="textruta 5">
            <a:extLst>
              <a:ext uri="{FF2B5EF4-FFF2-40B4-BE49-F238E27FC236}">
                <a16:creationId xmlns:a16="http://schemas.microsoft.com/office/drawing/2014/main" id="{9F5D2B89-498E-E4DB-4261-C7A8EB4C12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29FAF13E-B36A-4ECA-B14B-ACA675DEC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321" y="3029157"/>
            <a:ext cx="2781831" cy="1564780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A5BC296D-9F70-4EEC-AE75-F7ACBC27E6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9499" y="3562093"/>
            <a:ext cx="2781831" cy="1564780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1149" y="1477001"/>
            <a:ext cx="5587548" cy="372769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8742" y="1543698"/>
            <a:ext cx="6922359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94224" y="1624979"/>
            <a:ext cx="4297776" cy="325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2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08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1" y="616842"/>
            <a:ext cx="10009453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Personcentrerat och sammanhållet vårdförlopp för venös sjukdom i benen – varicer och venösa bensår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2309676"/>
            <a:ext cx="4316683" cy="34075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gång till vårdförloppet</a:t>
            </a:r>
          </a:p>
          <a:p>
            <a:pPr marL="285750" marR="0" lvl="0" indent="-28575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ker vid misstanke om venös sjukdom i benen</a:t>
            </a:r>
          </a:p>
          <a:p>
            <a:pPr marL="285750" marR="0" lvl="0" indent="-28575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Patient som fortfarande får vård enligt vårdförloppet och återfår bensår eller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ymtomgivande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varicer i det ben som behandlats, utreds på nytt. </a:t>
            </a:r>
          </a:p>
          <a:p>
            <a:pPr marL="285750" marR="0" lvl="0" indent="-28575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Även patienter som under tiden de får vård enligt vårdförloppet utvecklar tecken på venös sjukdom med varicer eller bensår i det motsatta benet utreds på nytt.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5638801" y="2309676"/>
            <a:ext cx="6042660" cy="34075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115000"/>
              </a:lnSpc>
              <a:defRPr/>
            </a:pPr>
            <a:r>
              <a:rPr lang="sv-SE" sz="20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tgång från vårdförloppe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Behandlande läkare bedömer i samråd med patienten att denne inte har nytta av utredning eller behandling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enduplex (ultraljudsundersökning av vener) visar inga hållpunkter för venös sjukdom i benen.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Patienten har genomgått uppföljning av kärlkirurgisk behandling och patienter med bensår har välfungerande kompressionsbehandling samt påbörjad sårläkning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Kärlkirurgiska möjligheter är uttömda och patienten har bensår trots adekvat kompressionsbehandling. Övergång till vårdförlopp Svårläkta sår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är undersökningen visar att patienten enbart har ådernät eller varicer med huvudsakligen kosmetisk påverkan eller lindriga symtom. I dessa fall hänvisas patienten till egenfinansierad vård hos privat vårdgivare.</a:t>
            </a:r>
          </a:p>
          <a:p>
            <a:pPr lvl="0">
              <a:lnSpc>
                <a:spcPct val="115000"/>
              </a:lnSpc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895252" y="1260236"/>
            <a:ext cx="101029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i="1" dirty="0">
                <a:solidFill>
                  <a:schemeClr val="accent1"/>
                </a:solidFill>
              </a:rPr>
              <a:t>Vårdförloppet inleds vid misstanke om att patienten har venös sjukdom i benen, vanligen varicer med eller utan bensår, och avslutas vid uppföljning tolv månader efter kärlkirurgisk behandling eller vid välfungerande kompressionsbehandling och påbörjad sårläkning.</a:t>
            </a:r>
            <a:endParaRPr lang="sv-S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782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E1AEBDC-A342-4092-AAB2-C637D87D89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508841"/>
            <a:ext cx="9645658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arför ett vårdförlopp är framtaget för venös sjukdom</a:t>
            </a:r>
            <a:endParaRPr lang="sv-SE" dirty="0">
              <a:highlight>
                <a:srgbClr val="FFFF00"/>
              </a:highlight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4E1610B-59BA-8FE7-F3A9-A3213E5D42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88742" y="1321381"/>
            <a:ext cx="10315752" cy="31301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sv-SE" sz="180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2A18F3-6004-9E9C-9E9C-AC491C728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88742" y="4613836"/>
            <a:ext cx="9004858" cy="1195652"/>
            <a:chOff x="8435891" y="1695275"/>
            <a:chExt cx="10214518" cy="123801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A9646E2-F46D-629C-DA78-59F845F94DEF}"/>
                </a:ext>
              </a:extLst>
            </p:cNvPr>
            <p:cNvSpPr/>
            <p:nvPr/>
          </p:nvSpPr>
          <p:spPr>
            <a:xfrm>
              <a:off x="8435891" y="1695275"/>
              <a:ext cx="9079276" cy="1238012"/>
            </a:xfrm>
            <a:prstGeom prst="rect">
              <a:avLst/>
            </a:prstGeom>
            <a:solidFill>
              <a:srgbClr val="D1EBE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m venös sjukdom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ricer förekommer hos 20 – 30 procent av befolkningen, varav de flesta är </a:t>
              </a:r>
              <a:r>
                <a:rPr kumimoji="0" lang="sv-SE" sz="1400" b="0" i="1" u="none" strike="noStrike" kern="120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tydelselösa men ett antal patienter kan ha svåra besvär, </a:t>
              </a:r>
              <a:r>
                <a:rPr lang="sv-SE" sz="1400" i="1" dirty="0">
                  <a:solidFill>
                    <a:srgbClr val="000000"/>
                  </a:solidFill>
                  <a:latin typeface="Calibri" panose="020F0502020204030204"/>
                </a:rPr>
                <a:t>h</a:t>
              </a:r>
              <a:r>
                <a:rPr kumimoji="0" lang="sv-SE" sz="1400" b="0" i="1" u="none" strike="noStrike" kern="1200" cap="none" spc="0" normalizeH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dförändringar</a:t>
              </a:r>
              <a:r>
                <a:rPr kumimoji="0" lang="sv-SE" sz="1400" b="0" i="1" u="none" strike="noStrike" kern="120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eller bensår</a:t>
              </a:r>
              <a:endPara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talet kärlkirurgiska behandlingar av varicer uppskattas till drygt 12 000 årligen </a:t>
              </a:r>
            </a:p>
          </p:txBody>
        </p:sp>
        <p:pic>
          <p:nvPicPr>
            <p:cNvPr id="12" name="Graphic 11" descr="Information with solid fill">
              <a:extLst>
                <a:ext uri="{FF2B5EF4-FFF2-40B4-BE49-F238E27FC236}">
                  <a16:creationId xmlns:a16="http://schemas.microsoft.com/office/drawing/2014/main" id="{095564B1-4D17-5BA3-4BAF-5F11A1DD19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7515167" y="1698716"/>
              <a:ext cx="1135242" cy="1028315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622C1090-0691-CAAF-2ECC-0DF204FA06EA}"/>
              </a:ext>
            </a:extLst>
          </p:cNvPr>
          <p:cNvSpPr/>
          <p:nvPr/>
        </p:nvSpPr>
        <p:spPr>
          <a:xfrm>
            <a:off x="1168757" y="1711021"/>
            <a:ext cx="3950089" cy="723092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Ojämlik vård mellan regionerna, privatekonomi påverkar tillgång till vård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7E0D38-1933-FD3D-5220-124EC05AB58C}"/>
              </a:ext>
            </a:extLst>
          </p:cNvPr>
          <p:cNvSpPr/>
          <p:nvPr/>
        </p:nvSpPr>
        <p:spPr>
          <a:xfrm>
            <a:off x="1168757" y="2528860"/>
            <a:ext cx="3950089" cy="985140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>
                <a:solidFill>
                  <a:schemeClr val="tx1"/>
                </a:solidFill>
              </a:rPr>
              <a:t>Schablonmässig, icke evidensbaserad bedömning och behandling medför fler bensår och upprepade ingrepp för åderbråck</a:t>
            </a:r>
            <a:endParaRPr lang="sv-SE" sz="1600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37FE09-93C2-67FE-B05B-47FDE9CD39A0}"/>
              </a:ext>
            </a:extLst>
          </p:cNvPr>
          <p:cNvSpPr txBox="1"/>
          <p:nvPr/>
        </p:nvSpPr>
        <p:spPr>
          <a:xfrm>
            <a:off x="1168757" y="1379610"/>
            <a:ext cx="26244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600" b="1" i="1" dirty="0">
                <a:solidFill>
                  <a:schemeClr val="bg1"/>
                </a:solidFill>
              </a:rPr>
              <a:t>Huvudsakliga anledningar</a:t>
            </a:r>
            <a:endParaRPr lang="aa-ET" sz="1600" b="1" i="1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D166A0-D4A3-6B14-8EF1-E6869DCB524C}"/>
              </a:ext>
            </a:extLst>
          </p:cNvPr>
          <p:cNvSpPr txBox="1"/>
          <p:nvPr/>
        </p:nvSpPr>
        <p:spPr>
          <a:xfrm>
            <a:off x="7073154" y="1379610"/>
            <a:ext cx="26244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600" b="1" i="1" dirty="0">
                <a:solidFill>
                  <a:schemeClr val="bg1"/>
                </a:solidFill>
              </a:rPr>
              <a:t>Förväntade effekter</a:t>
            </a:r>
            <a:endParaRPr lang="aa-ET" sz="1600" b="1" i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77254D8-32B1-0268-2480-36124DE2647A}"/>
              </a:ext>
            </a:extLst>
          </p:cNvPr>
          <p:cNvSpPr/>
          <p:nvPr/>
        </p:nvSpPr>
        <p:spPr>
          <a:xfrm>
            <a:off x="1168757" y="3602671"/>
            <a:ext cx="3950089" cy="780040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Komplikationsfrekvens och patientnöjdhet okända i Sverige, då endast 9 % av variceringrepp följs upp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F8847C9A-1ED5-CA68-1B77-1ED49340F9FD}"/>
              </a:ext>
            </a:extLst>
          </p:cNvPr>
          <p:cNvSpPr/>
          <p:nvPr/>
        </p:nvSpPr>
        <p:spPr>
          <a:xfrm>
            <a:off x="7156800" y="1711022"/>
            <a:ext cx="3765837" cy="1891650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tx1"/>
                </a:solidFill>
              </a:rPr>
              <a:t>I regioner som infört ett strukturerat och evidensbaserat omhändertagande av patientgruppen i likhet med vårdförloppet, har stora kostnadsbesparingar påvisats till följd av färre bensår och färre reoperationer</a:t>
            </a:r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id="{7C810256-56A6-4E11-8161-3FF23083E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89418" y="235704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094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4378960" y="274321"/>
            <a:ext cx="9413240" cy="1114056"/>
          </a:xfrm>
        </p:spPr>
        <p:txBody>
          <a:bodyPr>
            <a:noAutofit/>
          </a:bodyPr>
          <a:lstStyle/>
          <a:p>
            <a:r>
              <a:rPr lang="sv-SE" sz="2800" dirty="0"/>
              <a:t>Vårdförloppet utgår från tillförlitliga </a:t>
            </a:r>
            <a:br>
              <a:rPr lang="sv-SE" sz="2800" dirty="0"/>
            </a:br>
            <a:r>
              <a:rPr lang="sv-SE" sz="2800" dirty="0"/>
              <a:t>och aktuella kunskapsstöd och baseras </a:t>
            </a:r>
            <a:br>
              <a:rPr lang="sv-SE" sz="2800" dirty="0"/>
            </a:br>
            <a:r>
              <a:rPr lang="sv-SE" sz="2800" dirty="0"/>
              <a:t>på bästa tillgängliga kunskap</a:t>
            </a:r>
          </a:p>
        </p:txBody>
      </p:sp>
      <p:sp>
        <p:nvSpPr>
          <p:cNvPr id="6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459042" y="1544166"/>
            <a:ext cx="7394601" cy="4094633"/>
          </a:xfr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>
            <a:normAutofit fontScale="92500" lnSpcReduction="10000"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/>
              <a:t>Vårdförloppet baseras på det nationella vårdprogram som arbetsgruppen skrivit parallellt och som publiceras samtidigt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/>
              <a:t>Vårdprogrammet i sin tur </a:t>
            </a:r>
          </a:p>
          <a:p>
            <a:pPr marL="1028700" lvl="1" indent="-342900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sv-SE" sz="1900" dirty="0"/>
              <a:t>baseras på litteratursökning avseende relevanta riktlinjer och originalartiklar inom ämnesområdet</a:t>
            </a:r>
          </a:p>
          <a:p>
            <a:pPr marL="1028700" lvl="1" indent="-342900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/>
            </a:pPr>
            <a:r>
              <a:rPr lang="sv-SE" sz="1900" dirty="0"/>
              <a:t>harmonierar med European Society of </a:t>
            </a:r>
            <a:r>
              <a:rPr lang="sv-SE" sz="1900" dirty="0" err="1"/>
              <a:t>Vascular</a:t>
            </a:r>
            <a:r>
              <a:rPr lang="sv-SE" sz="1900" dirty="0"/>
              <a:t> </a:t>
            </a:r>
            <a:r>
              <a:rPr lang="sv-SE" sz="1900" dirty="0" err="1"/>
              <a:t>Surgery</a:t>
            </a:r>
            <a:r>
              <a:rPr lang="sv-SE" sz="1900" dirty="0"/>
              <a:t> (ESVS) Guidelines on </a:t>
            </a:r>
            <a:r>
              <a:rPr lang="sv-SE" sz="1900" dirty="0" err="1"/>
              <a:t>Chronic</a:t>
            </a:r>
            <a:r>
              <a:rPr lang="sv-SE" sz="1900" dirty="0"/>
              <a:t> Venous </a:t>
            </a:r>
            <a:r>
              <a:rPr lang="sv-SE" sz="1900" dirty="0" err="1"/>
              <a:t>Disease</a:t>
            </a:r>
            <a:r>
              <a:rPr lang="sv-SE" sz="1900" dirty="0"/>
              <a:t> 2022, samt med UIP Management of </a:t>
            </a:r>
            <a:r>
              <a:rPr lang="sv-SE" sz="1900" dirty="0" err="1"/>
              <a:t>Chronic</a:t>
            </a:r>
            <a:r>
              <a:rPr lang="sv-SE" sz="1900" dirty="0"/>
              <a:t> Venous Disorders of the </a:t>
            </a:r>
            <a:r>
              <a:rPr lang="sv-SE" sz="1900" dirty="0" err="1"/>
              <a:t>lower</a:t>
            </a:r>
            <a:r>
              <a:rPr lang="sv-SE" sz="1900" dirty="0"/>
              <a:t> </a:t>
            </a:r>
            <a:r>
              <a:rPr lang="sv-SE" sz="1900" dirty="0" err="1"/>
              <a:t>limbs</a:t>
            </a:r>
            <a:r>
              <a:rPr lang="sv-SE" sz="1900" dirty="0"/>
              <a:t> 2018 + 2020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/>
              <a:t>Medlemmar i arbetsgruppen har deltagit i sammanställningen av ovanstående internationella kunskapsstöd, samt skrivit tidigare regionala och lokala </a:t>
            </a:r>
            <a:r>
              <a:rPr lang="sv-SE"/>
              <a:t>riktlinjer t ex </a:t>
            </a:r>
            <a:r>
              <a:rPr lang="sv-SE" dirty="0"/>
              <a:t>Sårwebben</a:t>
            </a:r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3959141" cy="6667500"/>
          </a:xfrm>
          <a:prstGeom prst="rect">
            <a:avLst/>
          </a:prstGeom>
        </p:spPr>
      </p:pic>
      <p:sp>
        <p:nvSpPr>
          <p:cNvPr id="7" name="textruta 5">
            <a:extLst>
              <a:ext uri="{FF2B5EF4-FFF2-40B4-BE49-F238E27FC236}">
                <a16:creationId xmlns:a16="http://schemas.microsoft.com/office/drawing/2014/main" id="{9EEEB7E4-4FE2-B24C-1D99-B33710DEAE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719838" y="413243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603003" y="2772818"/>
            <a:ext cx="5597439" cy="98246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arenR" startAt="2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t saknas kunskap om varicer och </a:t>
            </a:r>
            <a:r>
              <a:rPr lang="sv-SE" sz="200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enösa bensår, i nära vård såväl som på specialistenheter och privata varicerkliniker</a:t>
            </a: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03002" y="3944958"/>
            <a:ext cx="5597439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arenR" startAt="3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t finns brister i bemötandet och i patientens möjlighet att vara delaktig</a:t>
            </a:r>
            <a:endParaRPr lang="sv-SE" sz="2000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03003" y="4926636"/>
            <a:ext cx="5597438" cy="106458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arenR" startAt="4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riterierna vad gäller betalningsansvar </a:t>
            </a:r>
            <a:r>
              <a:rPr lang="sv-SE" sz="200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är otydliga, samma ingrepp kan av olika regioner bekostas helt, delvis eller inte alls</a:t>
            </a:r>
            <a:endParaRPr lang="sv-SE" sz="2000" dirty="0"/>
          </a:p>
        </p:txBody>
      </p:sp>
      <p:sp>
        <p:nvSpPr>
          <p:cNvPr id="2" name="Högerpil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5" y="2101581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5" y="324508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Högerpil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5" y="4340958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5" y="5484459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03007" y="1845308"/>
            <a:ext cx="5597436" cy="792000"/>
          </a:xfrm>
          <a:solidFill>
            <a:schemeClr val="accent4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arenR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ssa patienter lider länge innan de </a:t>
            </a:r>
            <a:r>
              <a:rPr lang="sv-SE" sz="200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år vård, särskilt svårt för dem med bensår</a:t>
            </a:r>
            <a:endParaRPr lang="sv-SE" sz="2000" dirty="0"/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1600" dirty="0"/>
          </a:p>
        </p:txBody>
      </p:sp>
      <p:sp>
        <p:nvSpPr>
          <p:cNvPr id="17" name="textruta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</a:t>
            </a:r>
          </a:p>
        </p:txBody>
      </p:sp>
      <p:sp>
        <p:nvSpPr>
          <p:cNvPr id="18" name="textruta 17"/>
          <p:cNvSpPr txBox="1"/>
          <p:nvPr/>
        </p:nvSpPr>
        <p:spPr>
          <a:xfrm>
            <a:off x="4603003" y="1318668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4">
                    <a:lumMod val="75000"/>
                  </a:schemeClr>
                </a:solidFill>
              </a:rPr>
              <a:t>Utmaningar</a:t>
            </a:r>
          </a:p>
        </p:txBody>
      </p:sp>
      <p:pic>
        <p:nvPicPr>
          <p:cNvPr id="16" name="Picture 15" descr="Bilden visar en tabell på patientens erfarenheter och utmaningar i olika faser av vårdförloppet">
            <a:extLst>
              <a:ext uri="{FF2B5EF4-FFF2-40B4-BE49-F238E27FC236}">
                <a16:creationId xmlns:a16="http://schemas.microsoft.com/office/drawing/2014/main" id="{36620C17-3339-9FEA-7A1A-F6E4B1E5FA6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838" y="1401907"/>
            <a:ext cx="3299032" cy="4766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1234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9762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48418" y="413243"/>
            <a:ext cx="9053210" cy="805559"/>
          </a:xfrm>
        </p:spPr>
        <p:txBody>
          <a:bodyPr>
            <a:noAutofit/>
          </a:bodyPr>
          <a:lstStyle/>
          <a:p>
            <a:r>
              <a:rPr lang="sv-SE" sz="3200" dirty="0">
                <a:solidFill>
                  <a:srgbClr val="5A8695"/>
                </a:solidFill>
              </a:rPr>
              <a:t>Vinster med ett vårdförlopp </a:t>
            </a:r>
            <a:br>
              <a:rPr lang="sv-SE" sz="3200" dirty="0">
                <a:solidFill>
                  <a:srgbClr val="5A8695"/>
                </a:solidFill>
              </a:rPr>
            </a:br>
            <a:r>
              <a:rPr lang="sv-SE" sz="3200" dirty="0">
                <a:solidFill>
                  <a:srgbClr val="5A8695"/>
                </a:solidFill>
              </a:rPr>
              <a:t>för varicer och venösa bensår </a:t>
            </a:r>
          </a:p>
        </p:txBody>
      </p:sp>
      <p:pic>
        <p:nvPicPr>
          <p:cNvPr id="12" name="Platshållare för bild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4968057" cy="6648450"/>
          </a:xfrm>
        </p:spPr>
      </p:pic>
      <p:sp>
        <p:nvSpPr>
          <p:cNvPr id="10" name="textruta 5">
            <a:extLst>
              <a:ext uri="{FF2B5EF4-FFF2-40B4-BE49-F238E27FC236}">
                <a16:creationId xmlns:a16="http://schemas.microsoft.com/office/drawing/2014/main" id="{38F92AB2-A2FA-E504-A364-0DC41BED3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188196AD-3A2F-495D-8AEA-3C67E964F35D}"/>
              </a:ext>
            </a:extLst>
          </p:cNvPr>
          <p:cNvSpPr txBox="1"/>
          <p:nvPr/>
        </p:nvSpPr>
        <p:spPr>
          <a:xfrm>
            <a:off x="5248418" y="1495801"/>
            <a:ext cx="5853591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t finns regioner där vårdförloppets intentioner om evidensbaserad vård redan fungerat i praktiken. I Skaraborg har detta studerats väl, ett strukturerat arbetssätt har efter en initial ökning, på sikt medfört färre venösa bensår, färre primära ingrepp och färre reoperationer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t innebär möjligheter att hjälpa varandra över regiongränserna genom till exempel studiebesök eller praktikperiod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cs typeface="Arial" panose="020B0604020202020204" pitchFamily="34" charset="0"/>
              </a:rPr>
              <a:t>Utbildningsmaterial för personal och patienter samordnas mellan vårdförlopp som omfattar patienter med bensår*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sz="18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1200" dirty="0">
                <a:solidFill>
                  <a:srgbClr val="000000"/>
                </a:solidFill>
                <a:cs typeface="Arial" panose="020B0604020202020204" pitchFamily="34" charset="0"/>
              </a:rPr>
              <a:t>*Venös sjukdom i benen, Kritisk </a:t>
            </a:r>
            <a:r>
              <a:rPr lang="sv-SE" sz="1200" dirty="0" err="1">
                <a:solidFill>
                  <a:srgbClr val="000000"/>
                </a:solidFill>
                <a:cs typeface="Arial" panose="020B0604020202020204" pitchFamily="34" charset="0"/>
              </a:rPr>
              <a:t>benischemi</a:t>
            </a:r>
            <a:r>
              <a:rPr lang="sv-SE" sz="1200" dirty="0">
                <a:solidFill>
                  <a:srgbClr val="000000"/>
                </a:solidFill>
                <a:cs typeface="Arial" panose="020B0604020202020204" pitchFamily="34" charset="0"/>
              </a:rPr>
              <a:t>, Diabetes med hög risk för </a:t>
            </a:r>
            <a:r>
              <a:rPr lang="sv-SE" sz="1200" dirty="0" err="1">
                <a:solidFill>
                  <a:srgbClr val="000000"/>
                </a:solidFill>
                <a:cs typeface="Arial" panose="020B0604020202020204" pitchFamily="34" charset="0"/>
              </a:rPr>
              <a:t>fotsår</a:t>
            </a:r>
            <a:r>
              <a:rPr lang="sv-SE" sz="1200" dirty="0">
                <a:solidFill>
                  <a:srgbClr val="000000"/>
                </a:solidFill>
                <a:cs typeface="Arial" panose="020B0604020202020204" pitchFamily="34" charset="0"/>
              </a:rPr>
              <a:t>, Svårläkta sår</a:t>
            </a:r>
            <a:endParaRPr lang="sv-SE" sz="1200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233625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115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må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8C4BEE-7F0B-438E-A43A-161FF0E3A92E}"/>
              </a:ext>
            </a:extLst>
          </p:cNvPr>
          <p:cNvSpPr/>
          <p:nvPr/>
        </p:nvSpPr>
        <p:spPr>
          <a:xfrm>
            <a:off x="1066801" y="1399320"/>
            <a:ext cx="8763000" cy="4515705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</a:rPr>
              <a:t>Vårdförloppet har som övergripande mål att förebygga eller läka bensår samt att förbättra livskvaliteten för personer med venös sjukdom i benen</a:t>
            </a:r>
          </a:p>
          <a:p>
            <a:pPr lvl="0">
              <a:spcBef>
                <a:spcPts val="600"/>
              </a:spcBef>
              <a:defRPr/>
            </a:pPr>
            <a:r>
              <a:rPr lang="sv-SE" sz="2000" b="1" dirty="0">
                <a:solidFill>
                  <a:srgbClr val="000000"/>
                </a:solidFill>
              </a:rPr>
              <a:t>Vårdförloppet ska leda till: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korrekt bedömning och prioritering av patienter med venös sjukdom i benen, samt remittering av rätt patienter till specialiserad vård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bättrad livskvalitet genom ökad patientmedverkan för egenvård och livsstilsförändring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effektivare behandling med gott långtidsresultat, snabbare bensårsläkning, förbättrad livskvalitet och färre recidivbehandlingar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bättrad samstämmighet i bedömning avseende medicinsk indikation genom tydliga och evidensbaserade bedömningskriterier för betalningsansvar.</a:t>
            </a:r>
          </a:p>
          <a:p>
            <a:pPr lvl="0">
              <a:spcBef>
                <a:spcPts val="600"/>
              </a:spcBef>
              <a:defRPr/>
            </a:pPr>
            <a:endParaRPr lang="sv-SE" sz="2000" dirty="0">
              <a:solidFill>
                <a:srgbClr val="000000"/>
              </a:solidFill>
            </a:endParaRPr>
          </a:p>
        </p:txBody>
      </p:sp>
      <p:sp>
        <p:nvSpPr>
          <p:cNvPr id="11" name="textruta 5">
            <a:extLst>
              <a:ext uri="{FF2B5EF4-FFF2-40B4-BE49-F238E27FC236}">
                <a16:creationId xmlns:a16="http://schemas.microsoft.com/office/drawing/2014/main" id="{503A3865-706E-DC2D-6D35-9D04CBD4D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32742" y="136244"/>
            <a:ext cx="1720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Venös sjukdom i benen </a:t>
            </a:r>
          </a:p>
        </p:txBody>
      </p:sp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1B389F5C-5568-4364-BE4C-2A08D45B2CD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834A045EA19F4FA7D09B49F22071FD" ma:contentTypeVersion="2" ma:contentTypeDescription="Create a new document." ma:contentTypeScope="" ma:versionID="a2a5866f1427024a2e562e45ed8dbe9d">
  <xsd:schema xmlns:xsd="http://www.w3.org/2001/XMLSchema" xmlns:xs="http://www.w3.org/2001/XMLSchema" xmlns:p="http://schemas.microsoft.com/office/2006/metadata/properties" xmlns:ns2="91a51955-e0f2-46a1-a4fe-2819e2857af0" targetNamespace="http://schemas.microsoft.com/office/2006/metadata/properties" ma:root="true" ma:fieldsID="ec994fab9acded7de300dbad652e5921" ns2:_="">
    <xsd:import namespace="91a51955-e0f2-46a1-a4fe-2819e2857a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a51955-e0f2-46a1-a4fe-2819e2857a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1148205-083B-419E-9E3E-ACD15D9CDB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a51955-e0f2-46a1-a4fe-2819e2857a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E958AD-C6EA-4703-8E17-08DFAD9373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CA1E7AB-5800-4886-B2D4-F3E7DB19B992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91a51955-e0f2-46a1-a4fe-2819e2857af0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6</TotalTime>
  <Words>2137</Words>
  <Application>Microsoft Office PowerPoint</Application>
  <PresentationFormat>Bredbild</PresentationFormat>
  <Paragraphs>212</Paragraphs>
  <Slides>19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27" baseType="lpstr">
      <vt:lpstr>Arial</vt:lpstr>
      <vt:lpstr>Calibri</vt:lpstr>
      <vt:lpstr>Calibri Light</vt:lpstr>
      <vt:lpstr>Courier New</vt:lpstr>
      <vt:lpstr>Symbol</vt:lpstr>
      <vt:lpstr>Tema_sveriges_regioner_i_samverkan</vt:lpstr>
      <vt:lpstr>1_Tema_sveriges_regioner_i_samverkan</vt:lpstr>
      <vt:lpstr>think-cell Slide</vt:lpstr>
      <vt:lpstr>PowerPoint-presentation</vt:lpstr>
      <vt:lpstr>Syftet med personcentrerade och sammanhållna vårdförlopp </vt:lpstr>
      <vt:lpstr>Regionerna i samverkan</vt:lpstr>
      <vt:lpstr>Personcentrerat och sammanhållet vårdförlopp för venös sjukdom i benen – varicer och venösa bensår </vt:lpstr>
      <vt:lpstr>Varför ett vårdförlopp är framtaget för venös sjukdom</vt:lpstr>
      <vt:lpstr>Vårdförloppet utgår från tillförlitliga  och aktuella kunskapsstöd och baseras  på bästa tillgängliga kunskap</vt:lpstr>
      <vt:lpstr>Nulägesbeskrivning ur ett patientperspektiv</vt:lpstr>
      <vt:lpstr>Vinster med ett vårdförlopp  för varicer och venösa bensår </vt:lpstr>
      <vt:lpstr>Vårdförloppets mål</vt:lpstr>
      <vt:lpstr>Vårdförloppet innehåller flödesschema och åtgärder </vt:lpstr>
      <vt:lpstr>Vårdförloppet i korthet</vt:lpstr>
      <vt:lpstr>Vårdförloppet lägger tonvikt på</vt:lpstr>
      <vt:lpstr>Patientkontrakt</vt:lpstr>
      <vt:lpstr>Vad kommer att följas upp?</vt:lpstr>
      <vt:lpstr>Vad blir konsekvenserna vid införandet av vårdförloppet?</vt:lpstr>
      <vt:lpstr>Dialog</vt:lpstr>
      <vt:lpstr>Deltagare</vt:lpstr>
      <vt:lpstr>Personcentrerat och sammanhållet vårdförlopp för venös sjukdom</vt:lpstr>
      <vt:lpstr>Mer information och stöd</vt:lpstr>
    </vt:vector>
  </TitlesOfParts>
  <Company>Sverige Kommuner och Land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Holmström Christina</dc:creator>
  <cp:lastModifiedBy>Björk Staffan</cp:lastModifiedBy>
  <cp:revision>122</cp:revision>
  <dcterms:created xsi:type="dcterms:W3CDTF">2020-05-28T13:45:39Z</dcterms:created>
  <dcterms:modified xsi:type="dcterms:W3CDTF">2022-06-08T13:5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834A045EA19F4FA7D09B49F22071FD</vt:lpwstr>
  </property>
</Properties>
</file>